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s/slide3.xml" ContentType="application/vnd.openxmlformats-officedocument.presentationml.slide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notesSlides/notesSlide1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Layouts/slideLayout11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1.xml" ContentType="application/vnd.openxmlformats-officedocument.them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2.xml" ContentType="application/vnd.openxmlformats-officedocument.presentationml.tags+xml"/>
  <Override PartName="/docProps/core.xml" ContentType="application/vnd.openxmlformats-package.core-properties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5"/>
  </p:notesMasterIdLst>
  <p:sldIdLst>
    <p:sldId id="272" r:id="rId2"/>
    <p:sldId id="273" r:id="rId3"/>
    <p:sldId id="274" r:id="rId4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3428" autoAdjust="0"/>
  </p:normalViewPr>
  <p:slideViewPr>
    <p:cSldViewPr snapToGrid="0">
      <p:cViewPr>
        <p:scale>
          <a:sx n="100" d="100"/>
          <a:sy n="100" d="100"/>
        </p:scale>
        <p:origin x="-1992" y="-4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12" Type="http://schemas.openxmlformats.org/officeDocument/2006/relationships/customXml" Target="../customXml/item3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11" Type="http://schemas.openxmlformats.org/officeDocument/2006/relationships/customXml" Target="../customXml/item2.xml"/><Relationship Id="rId5" Type="http://schemas.openxmlformats.org/officeDocument/2006/relationships/notesMaster" Target="notesMasters/notesMaster1.xml"/><Relationship Id="rId10" Type="http://schemas.openxmlformats.org/officeDocument/2006/relationships/customXml" Target="../customXml/item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599FD0-3070-46DD-986B-90323ACCD8C5}" type="datetimeFigureOut">
              <a:rPr lang="en-AU" smtClean="0"/>
              <a:t>12/06/2018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34B6DE-3B1C-489D-9C30-F0C0240E015B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880642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34B6DE-3B1C-489D-9C30-F0C0240E015B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1013881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35" y="1135"/>
          <a:ext cx="1133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35" y="1135"/>
                        <a:ext cx="1133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5656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9"/>
            <a:ext cx="6858000" cy="1655762"/>
          </a:xfrm>
        </p:spPr>
        <p:txBody>
          <a:bodyPr/>
          <a:lstStyle>
            <a:lvl1pPr marL="0" indent="0" algn="ctr">
              <a:buNone/>
              <a:defRPr sz="2263"/>
            </a:lvl1pPr>
            <a:lvl2pPr marL="431020" indent="0" algn="ctr">
              <a:buNone/>
              <a:defRPr sz="1886"/>
            </a:lvl2pPr>
            <a:lvl3pPr marL="862040" indent="0" algn="ctr">
              <a:buNone/>
              <a:defRPr sz="1697"/>
            </a:lvl3pPr>
            <a:lvl4pPr marL="1293060" indent="0" algn="ctr">
              <a:buNone/>
              <a:defRPr sz="1509"/>
            </a:lvl4pPr>
            <a:lvl5pPr marL="1724080" indent="0" algn="ctr">
              <a:buNone/>
              <a:defRPr sz="1509"/>
            </a:lvl5pPr>
            <a:lvl6pPr marL="2155100" indent="0" algn="ctr">
              <a:buNone/>
              <a:defRPr sz="1509"/>
            </a:lvl6pPr>
            <a:lvl7pPr marL="2586120" indent="0" algn="ctr">
              <a:buNone/>
              <a:defRPr sz="1509"/>
            </a:lvl7pPr>
            <a:lvl8pPr marL="3017140" indent="0" algn="ctr">
              <a:buNone/>
              <a:defRPr sz="1509"/>
            </a:lvl8pPr>
            <a:lvl9pPr marL="3448160" indent="0" algn="ctr">
              <a:buNone/>
              <a:defRPr sz="1509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ABDBE7-6C31-486A-8D0C-0A472C696CD9}" type="datetimeFigureOut">
              <a:rPr lang="en-AU" smtClean="0">
                <a:solidFill>
                  <a:prstClr val="black">
                    <a:tint val="75000"/>
                  </a:prstClr>
                </a:solidFill>
              </a:rPr>
              <a:pPr/>
              <a:t>12/06/2018</a:t>
            </a:fld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97D0BD-CA77-4736-B5BA-514DBEF71725}" type="slidenum">
              <a:rPr lang="en-A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51407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ABDBE7-6C31-486A-8D0C-0A472C696CD9}" type="datetimeFigureOut">
              <a:rPr lang="en-AU" smtClean="0">
                <a:solidFill>
                  <a:prstClr val="black">
                    <a:tint val="75000"/>
                  </a:prstClr>
                </a:solidFill>
              </a:rPr>
              <a:pPr/>
              <a:t>12/06/2018</a:t>
            </a:fld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97D0BD-CA77-4736-B5BA-514DBEF71725}" type="slidenum">
              <a:rPr lang="en-A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37098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6"/>
            <a:ext cx="1971675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365126"/>
            <a:ext cx="5800725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ABDBE7-6C31-486A-8D0C-0A472C696CD9}" type="datetimeFigureOut">
              <a:rPr lang="en-AU" smtClean="0">
                <a:solidFill>
                  <a:prstClr val="black">
                    <a:tint val="75000"/>
                  </a:prstClr>
                </a:solidFill>
              </a:rPr>
              <a:pPr/>
              <a:t>12/06/2018</a:t>
            </a:fld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97D0BD-CA77-4736-B5BA-514DBEF71725}" type="slidenum">
              <a:rPr lang="en-A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40940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ABDBE7-6C31-486A-8D0C-0A472C696CD9}" type="datetimeFigureOut">
              <a:rPr lang="en-AU" smtClean="0">
                <a:solidFill>
                  <a:prstClr val="black">
                    <a:tint val="75000"/>
                  </a:prstClr>
                </a:solidFill>
              </a:rPr>
              <a:pPr/>
              <a:t>12/06/2018</a:t>
            </a:fld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97D0BD-CA77-4736-B5BA-514DBEF71725}" type="slidenum">
              <a:rPr lang="en-A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1090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5656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8"/>
          </a:xfrm>
        </p:spPr>
        <p:txBody>
          <a:bodyPr/>
          <a:lstStyle>
            <a:lvl1pPr marL="0" indent="0">
              <a:buNone/>
              <a:defRPr sz="2263">
                <a:solidFill>
                  <a:schemeClr val="tx1"/>
                </a:solidFill>
              </a:defRPr>
            </a:lvl1pPr>
            <a:lvl2pPr marL="431020" indent="0">
              <a:buNone/>
              <a:defRPr sz="1886">
                <a:solidFill>
                  <a:schemeClr val="tx1">
                    <a:tint val="75000"/>
                  </a:schemeClr>
                </a:solidFill>
              </a:defRPr>
            </a:lvl2pPr>
            <a:lvl3pPr marL="862040" indent="0">
              <a:buNone/>
              <a:defRPr sz="1697">
                <a:solidFill>
                  <a:schemeClr val="tx1">
                    <a:tint val="75000"/>
                  </a:schemeClr>
                </a:solidFill>
              </a:defRPr>
            </a:lvl3pPr>
            <a:lvl4pPr marL="1293060" indent="0">
              <a:buNone/>
              <a:defRPr sz="1509">
                <a:solidFill>
                  <a:schemeClr val="tx1">
                    <a:tint val="75000"/>
                  </a:schemeClr>
                </a:solidFill>
              </a:defRPr>
            </a:lvl4pPr>
            <a:lvl5pPr marL="1724080" indent="0">
              <a:buNone/>
              <a:defRPr sz="1509">
                <a:solidFill>
                  <a:schemeClr val="tx1">
                    <a:tint val="75000"/>
                  </a:schemeClr>
                </a:solidFill>
              </a:defRPr>
            </a:lvl5pPr>
            <a:lvl6pPr marL="2155100" indent="0">
              <a:buNone/>
              <a:defRPr sz="1509">
                <a:solidFill>
                  <a:schemeClr val="tx1">
                    <a:tint val="75000"/>
                  </a:schemeClr>
                </a:solidFill>
              </a:defRPr>
            </a:lvl6pPr>
            <a:lvl7pPr marL="2586120" indent="0">
              <a:buNone/>
              <a:defRPr sz="1509">
                <a:solidFill>
                  <a:schemeClr val="tx1">
                    <a:tint val="75000"/>
                  </a:schemeClr>
                </a:solidFill>
              </a:defRPr>
            </a:lvl7pPr>
            <a:lvl8pPr marL="3017140" indent="0">
              <a:buNone/>
              <a:defRPr sz="1509">
                <a:solidFill>
                  <a:schemeClr val="tx1">
                    <a:tint val="75000"/>
                  </a:schemeClr>
                </a:solidFill>
              </a:defRPr>
            </a:lvl8pPr>
            <a:lvl9pPr marL="3448160" indent="0">
              <a:buNone/>
              <a:defRPr sz="150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ABDBE7-6C31-486A-8D0C-0A472C696CD9}" type="datetimeFigureOut">
              <a:rPr lang="en-AU" smtClean="0">
                <a:solidFill>
                  <a:prstClr val="black">
                    <a:tint val="75000"/>
                  </a:prstClr>
                </a:solidFill>
              </a:rPr>
              <a:pPr/>
              <a:t>12/06/2018</a:t>
            </a:fld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97D0BD-CA77-4736-B5BA-514DBEF71725}" type="slidenum">
              <a:rPr lang="en-A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61032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1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ABDBE7-6C31-486A-8D0C-0A472C696CD9}" type="datetimeFigureOut">
              <a:rPr lang="en-AU" smtClean="0">
                <a:solidFill>
                  <a:prstClr val="black">
                    <a:tint val="75000"/>
                  </a:prstClr>
                </a:solidFill>
              </a:rPr>
              <a:pPr/>
              <a:t>12/06/2018</a:t>
            </a:fld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97D0BD-CA77-4736-B5BA-514DBEF71725}" type="slidenum">
              <a:rPr lang="en-A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77220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3"/>
          </a:xfrm>
        </p:spPr>
        <p:txBody>
          <a:bodyPr anchor="b"/>
          <a:lstStyle>
            <a:lvl1pPr marL="0" indent="0">
              <a:buNone/>
              <a:defRPr sz="2263" b="1"/>
            </a:lvl1pPr>
            <a:lvl2pPr marL="431020" indent="0">
              <a:buNone/>
              <a:defRPr sz="1886" b="1"/>
            </a:lvl2pPr>
            <a:lvl3pPr marL="862040" indent="0">
              <a:buNone/>
              <a:defRPr sz="1697" b="1"/>
            </a:lvl3pPr>
            <a:lvl4pPr marL="1293060" indent="0">
              <a:buNone/>
              <a:defRPr sz="1509" b="1"/>
            </a:lvl4pPr>
            <a:lvl5pPr marL="1724080" indent="0">
              <a:buNone/>
              <a:defRPr sz="1509" b="1"/>
            </a:lvl5pPr>
            <a:lvl6pPr marL="2155100" indent="0">
              <a:buNone/>
              <a:defRPr sz="1509" b="1"/>
            </a:lvl6pPr>
            <a:lvl7pPr marL="2586120" indent="0">
              <a:buNone/>
              <a:defRPr sz="1509" b="1"/>
            </a:lvl7pPr>
            <a:lvl8pPr marL="3017140" indent="0">
              <a:buNone/>
              <a:defRPr sz="1509" b="1"/>
            </a:lvl8pPr>
            <a:lvl9pPr marL="3448160" indent="0">
              <a:buNone/>
              <a:defRPr sz="1509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6"/>
            <a:ext cx="3868340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3"/>
          </a:xfrm>
        </p:spPr>
        <p:txBody>
          <a:bodyPr anchor="b"/>
          <a:lstStyle>
            <a:lvl1pPr marL="0" indent="0">
              <a:buNone/>
              <a:defRPr sz="2263" b="1"/>
            </a:lvl1pPr>
            <a:lvl2pPr marL="431020" indent="0">
              <a:buNone/>
              <a:defRPr sz="1886" b="1"/>
            </a:lvl2pPr>
            <a:lvl3pPr marL="862040" indent="0">
              <a:buNone/>
              <a:defRPr sz="1697" b="1"/>
            </a:lvl3pPr>
            <a:lvl4pPr marL="1293060" indent="0">
              <a:buNone/>
              <a:defRPr sz="1509" b="1"/>
            </a:lvl4pPr>
            <a:lvl5pPr marL="1724080" indent="0">
              <a:buNone/>
              <a:defRPr sz="1509" b="1"/>
            </a:lvl5pPr>
            <a:lvl6pPr marL="2155100" indent="0">
              <a:buNone/>
              <a:defRPr sz="1509" b="1"/>
            </a:lvl6pPr>
            <a:lvl7pPr marL="2586120" indent="0">
              <a:buNone/>
              <a:defRPr sz="1509" b="1"/>
            </a:lvl7pPr>
            <a:lvl8pPr marL="3017140" indent="0">
              <a:buNone/>
              <a:defRPr sz="1509" b="1"/>
            </a:lvl8pPr>
            <a:lvl9pPr marL="3448160" indent="0">
              <a:buNone/>
              <a:defRPr sz="1509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2505076"/>
            <a:ext cx="3887391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ABDBE7-6C31-486A-8D0C-0A472C696CD9}" type="datetimeFigureOut">
              <a:rPr lang="en-AU" smtClean="0">
                <a:solidFill>
                  <a:prstClr val="black">
                    <a:tint val="75000"/>
                  </a:prstClr>
                </a:solidFill>
              </a:rPr>
              <a:pPr/>
              <a:t>12/06/2018</a:t>
            </a:fld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97D0BD-CA77-4736-B5BA-514DBEF71725}" type="slidenum">
              <a:rPr lang="en-A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50153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ABDBE7-6C31-486A-8D0C-0A472C696CD9}" type="datetimeFigureOut">
              <a:rPr lang="en-AU" smtClean="0">
                <a:solidFill>
                  <a:prstClr val="black">
                    <a:tint val="75000"/>
                  </a:prstClr>
                </a:solidFill>
              </a:rPr>
              <a:pPr/>
              <a:t>12/06/2018</a:t>
            </a:fld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97D0BD-CA77-4736-B5BA-514DBEF71725}" type="slidenum">
              <a:rPr lang="en-A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73467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ABDBE7-6C31-486A-8D0C-0A472C696CD9}" type="datetimeFigureOut">
              <a:rPr lang="en-AU" smtClean="0">
                <a:solidFill>
                  <a:prstClr val="black">
                    <a:tint val="75000"/>
                  </a:prstClr>
                </a:solidFill>
              </a:rPr>
              <a:pPr/>
              <a:t>12/06/2018</a:t>
            </a:fld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97D0BD-CA77-4736-B5BA-514DBEF71725}" type="slidenum">
              <a:rPr lang="en-A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4664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2" y="457200"/>
            <a:ext cx="2949178" cy="1600200"/>
          </a:xfrm>
        </p:spPr>
        <p:txBody>
          <a:bodyPr anchor="b"/>
          <a:lstStyle>
            <a:lvl1pPr>
              <a:defRPr sz="3017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7"/>
            <a:ext cx="4629150" cy="4873625"/>
          </a:xfrm>
        </p:spPr>
        <p:txBody>
          <a:bodyPr/>
          <a:lstStyle>
            <a:lvl1pPr>
              <a:defRPr sz="3017"/>
            </a:lvl1pPr>
            <a:lvl2pPr>
              <a:defRPr sz="2640"/>
            </a:lvl2pPr>
            <a:lvl3pPr>
              <a:defRPr sz="2263"/>
            </a:lvl3pPr>
            <a:lvl4pPr>
              <a:defRPr sz="1886"/>
            </a:lvl4pPr>
            <a:lvl5pPr>
              <a:defRPr sz="1886"/>
            </a:lvl5pPr>
            <a:lvl6pPr>
              <a:defRPr sz="1886"/>
            </a:lvl6pPr>
            <a:lvl7pPr>
              <a:defRPr sz="1886"/>
            </a:lvl7pPr>
            <a:lvl8pPr>
              <a:defRPr sz="1886"/>
            </a:lvl8pPr>
            <a:lvl9pPr>
              <a:defRPr sz="1886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2" y="2057400"/>
            <a:ext cx="2949178" cy="3811588"/>
          </a:xfrm>
        </p:spPr>
        <p:txBody>
          <a:bodyPr/>
          <a:lstStyle>
            <a:lvl1pPr marL="0" indent="0">
              <a:buNone/>
              <a:defRPr sz="1509"/>
            </a:lvl1pPr>
            <a:lvl2pPr marL="431020" indent="0">
              <a:buNone/>
              <a:defRPr sz="1320"/>
            </a:lvl2pPr>
            <a:lvl3pPr marL="862040" indent="0">
              <a:buNone/>
              <a:defRPr sz="1131"/>
            </a:lvl3pPr>
            <a:lvl4pPr marL="1293060" indent="0">
              <a:buNone/>
              <a:defRPr sz="942"/>
            </a:lvl4pPr>
            <a:lvl5pPr marL="1724080" indent="0">
              <a:buNone/>
              <a:defRPr sz="942"/>
            </a:lvl5pPr>
            <a:lvl6pPr marL="2155100" indent="0">
              <a:buNone/>
              <a:defRPr sz="942"/>
            </a:lvl6pPr>
            <a:lvl7pPr marL="2586120" indent="0">
              <a:buNone/>
              <a:defRPr sz="942"/>
            </a:lvl7pPr>
            <a:lvl8pPr marL="3017140" indent="0">
              <a:buNone/>
              <a:defRPr sz="942"/>
            </a:lvl8pPr>
            <a:lvl9pPr marL="3448160" indent="0">
              <a:buNone/>
              <a:defRPr sz="942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ABDBE7-6C31-486A-8D0C-0A472C696CD9}" type="datetimeFigureOut">
              <a:rPr lang="en-AU" smtClean="0">
                <a:solidFill>
                  <a:prstClr val="black">
                    <a:tint val="75000"/>
                  </a:prstClr>
                </a:solidFill>
              </a:rPr>
              <a:pPr/>
              <a:t>12/06/2018</a:t>
            </a:fld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97D0BD-CA77-4736-B5BA-514DBEF71725}" type="slidenum">
              <a:rPr lang="en-A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04995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2" y="457200"/>
            <a:ext cx="2949178" cy="1600200"/>
          </a:xfrm>
        </p:spPr>
        <p:txBody>
          <a:bodyPr anchor="b"/>
          <a:lstStyle>
            <a:lvl1pPr>
              <a:defRPr sz="3017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7"/>
            <a:ext cx="4629150" cy="4873625"/>
          </a:xfrm>
        </p:spPr>
        <p:txBody>
          <a:bodyPr anchor="t"/>
          <a:lstStyle>
            <a:lvl1pPr marL="0" indent="0">
              <a:buNone/>
              <a:defRPr sz="3017"/>
            </a:lvl1pPr>
            <a:lvl2pPr marL="431020" indent="0">
              <a:buNone/>
              <a:defRPr sz="2640"/>
            </a:lvl2pPr>
            <a:lvl3pPr marL="862040" indent="0">
              <a:buNone/>
              <a:defRPr sz="2263"/>
            </a:lvl3pPr>
            <a:lvl4pPr marL="1293060" indent="0">
              <a:buNone/>
              <a:defRPr sz="1886"/>
            </a:lvl4pPr>
            <a:lvl5pPr marL="1724080" indent="0">
              <a:buNone/>
              <a:defRPr sz="1886"/>
            </a:lvl5pPr>
            <a:lvl6pPr marL="2155100" indent="0">
              <a:buNone/>
              <a:defRPr sz="1886"/>
            </a:lvl6pPr>
            <a:lvl7pPr marL="2586120" indent="0">
              <a:buNone/>
              <a:defRPr sz="1886"/>
            </a:lvl7pPr>
            <a:lvl8pPr marL="3017140" indent="0">
              <a:buNone/>
              <a:defRPr sz="1886"/>
            </a:lvl8pPr>
            <a:lvl9pPr marL="3448160" indent="0">
              <a:buNone/>
              <a:defRPr sz="1886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2" y="2057400"/>
            <a:ext cx="2949178" cy="3811588"/>
          </a:xfrm>
        </p:spPr>
        <p:txBody>
          <a:bodyPr/>
          <a:lstStyle>
            <a:lvl1pPr marL="0" indent="0">
              <a:buNone/>
              <a:defRPr sz="1509"/>
            </a:lvl1pPr>
            <a:lvl2pPr marL="431020" indent="0">
              <a:buNone/>
              <a:defRPr sz="1320"/>
            </a:lvl2pPr>
            <a:lvl3pPr marL="862040" indent="0">
              <a:buNone/>
              <a:defRPr sz="1131"/>
            </a:lvl3pPr>
            <a:lvl4pPr marL="1293060" indent="0">
              <a:buNone/>
              <a:defRPr sz="942"/>
            </a:lvl4pPr>
            <a:lvl5pPr marL="1724080" indent="0">
              <a:buNone/>
              <a:defRPr sz="942"/>
            </a:lvl5pPr>
            <a:lvl6pPr marL="2155100" indent="0">
              <a:buNone/>
              <a:defRPr sz="942"/>
            </a:lvl6pPr>
            <a:lvl7pPr marL="2586120" indent="0">
              <a:buNone/>
              <a:defRPr sz="942"/>
            </a:lvl7pPr>
            <a:lvl8pPr marL="3017140" indent="0">
              <a:buNone/>
              <a:defRPr sz="942"/>
            </a:lvl8pPr>
            <a:lvl9pPr marL="3448160" indent="0">
              <a:buNone/>
              <a:defRPr sz="942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ABDBE7-6C31-486A-8D0C-0A472C696CD9}" type="datetimeFigureOut">
              <a:rPr lang="en-AU" smtClean="0">
                <a:solidFill>
                  <a:prstClr val="black">
                    <a:tint val="75000"/>
                  </a:prstClr>
                </a:solidFill>
              </a:rPr>
              <a:pPr/>
              <a:t>12/06/2018</a:t>
            </a:fld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97D0BD-CA77-4736-B5BA-514DBEF71725}" type="slidenum">
              <a:rPr lang="en-A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2602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/>
          </p:nvPr>
        </p:nvGraphicFramePr>
        <p:xfrm>
          <a:off x="1135" y="1135"/>
          <a:ext cx="1133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think-cell Slide" r:id="rId15" imgW="416" imgH="416" progId="TCLayout.ActiveDocument.1">
                  <p:embed/>
                </p:oleObj>
              </mc:Choice>
              <mc:Fallback>
                <p:oleObj name="think-cell Slide" r:id="rId1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135" y="1135"/>
                        <a:ext cx="1133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3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24113"/>
            <a:fld id="{BAABDBE7-6C31-486A-8D0C-0A472C696CD9}" type="datetimeFigureOut">
              <a:rPr lang="en-AU" smtClean="0">
                <a:solidFill>
                  <a:prstClr val="black">
                    <a:tint val="75000"/>
                  </a:prstClr>
                </a:solidFill>
              </a:rPr>
              <a:pPr defTabSz="724113"/>
              <a:t>12/06/2018</a:t>
            </a:fld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3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3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24113"/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3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24113"/>
            <a:fld id="{FB97D0BD-CA77-4736-B5BA-514DBEF71725}" type="slidenum">
              <a:rPr lang="en-AU" smtClean="0">
                <a:solidFill>
                  <a:prstClr val="black">
                    <a:tint val="75000"/>
                  </a:prstClr>
                </a:solidFill>
              </a:rPr>
              <a:pPr defTabSz="724113"/>
              <a:t>‹#›</a:t>
            </a:fld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10644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862040" rtl="0" eaLnBrk="1" latinLnBrk="0" hangingPunct="1">
        <a:lnSpc>
          <a:spcPct val="90000"/>
        </a:lnSpc>
        <a:spcBef>
          <a:spcPct val="0"/>
        </a:spcBef>
        <a:buNone/>
        <a:defRPr sz="414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5510" indent="-215510" algn="l" defTabSz="862040" rtl="0" eaLnBrk="1" latinLnBrk="0" hangingPunct="1">
        <a:lnSpc>
          <a:spcPct val="90000"/>
        </a:lnSpc>
        <a:spcBef>
          <a:spcPts val="942"/>
        </a:spcBef>
        <a:buFont typeface="Arial" panose="020B0604020202020204" pitchFamily="34" charset="0"/>
        <a:buChar char="•"/>
        <a:defRPr sz="2640" kern="1200">
          <a:solidFill>
            <a:schemeClr val="tx1"/>
          </a:solidFill>
          <a:latin typeface="+mn-lt"/>
          <a:ea typeface="+mn-ea"/>
          <a:cs typeface="+mn-cs"/>
        </a:defRPr>
      </a:lvl1pPr>
      <a:lvl2pPr marL="646529" indent="-215510" algn="l" defTabSz="862040" rtl="0" eaLnBrk="1" latinLnBrk="0" hangingPunct="1">
        <a:lnSpc>
          <a:spcPct val="90000"/>
        </a:lnSpc>
        <a:spcBef>
          <a:spcPts val="471"/>
        </a:spcBef>
        <a:buFont typeface="Arial" panose="020B0604020202020204" pitchFamily="34" charset="0"/>
        <a:buChar char="•"/>
        <a:defRPr sz="2263" kern="1200">
          <a:solidFill>
            <a:schemeClr val="tx1"/>
          </a:solidFill>
          <a:latin typeface="+mn-lt"/>
          <a:ea typeface="+mn-ea"/>
          <a:cs typeface="+mn-cs"/>
        </a:defRPr>
      </a:lvl2pPr>
      <a:lvl3pPr marL="1077549" indent="-215510" algn="l" defTabSz="862040" rtl="0" eaLnBrk="1" latinLnBrk="0" hangingPunct="1">
        <a:lnSpc>
          <a:spcPct val="90000"/>
        </a:lnSpc>
        <a:spcBef>
          <a:spcPts val="471"/>
        </a:spcBef>
        <a:buFont typeface="Arial" panose="020B0604020202020204" pitchFamily="34" charset="0"/>
        <a:buChar char="•"/>
        <a:defRPr sz="1886" kern="1200">
          <a:solidFill>
            <a:schemeClr val="tx1"/>
          </a:solidFill>
          <a:latin typeface="+mn-lt"/>
          <a:ea typeface="+mn-ea"/>
          <a:cs typeface="+mn-cs"/>
        </a:defRPr>
      </a:lvl3pPr>
      <a:lvl4pPr marL="1508569" indent="-215510" algn="l" defTabSz="862040" rtl="0" eaLnBrk="1" latinLnBrk="0" hangingPunct="1">
        <a:lnSpc>
          <a:spcPct val="90000"/>
        </a:lnSpc>
        <a:spcBef>
          <a:spcPts val="471"/>
        </a:spcBef>
        <a:buFont typeface="Arial" panose="020B0604020202020204" pitchFamily="34" charset="0"/>
        <a:buChar char="•"/>
        <a:defRPr sz="1697" kern="1200">
          <a:solidFill>
            <a:schemeClr val="tx1"/>
          </a:solidFill>
          <a:latin typeface="+mn-lt"/>
          <a:ea typeface="+mn-ea"/>
          <a:cs typeface="+mn-cs"/>
        </a:defRPr>
      </a:lvl4pPr>
      <a:lvl5pPr marL="1939589" indent="-215510" algn="l" defTabSz="862040" rtl="0" eaLnBrk="1" latinLnBrk="0" hangingPunct="1">
        <a:lnSpc>
          <a:spcPct val="90000"/>
        </a:lnSpc>
        <a:spcBef>
          <a:spcPts val="471"/>
        </a:spcBef>
        <a:buFont typeface="Arial" panose="020B0604020202020204" pitchFamily="34" charset="0"/>
        <a:buChar char="•"/>
        <a:defRPr sz="1697" kern="1200">
          <a:solidFill>
            <a:schemeClr val="tx1"/>
          </a:solidFill>
          <a:latin typeface="+mn-lt"/>
          <a:ea typeface="+mn-ea"/>
          <a:cs typeface="+mn-cs"/>
        </a:defRPr>
      </a:lvl5pPr>
      <a:lvl6pPr marL="2370609" indent="-215510" algn="l" defTabSz="862040" rtl="0" eaLnBrk="1" latinLnBrk="0" hangingPunct="1">
        <a:lnSpc>
          <a:spcPct val="90000"/>
        </a:lnSpc>
        <a:spcBef>
          <a:spcPts val="471"/>
        </a:spcBef>
        <a:buFont typeface="Arial" panose="020B0604020202020204" pitchFamily="34" charset="0"/>
        <a:buChar char="•"/>
        <a:defRPr sz="1697" kern="1200">
          <a:solidFill>
            <a:schemeClr val="tx1"/>
          </a:solidFill>
          <a:latin typeface="+mn-lt"/>
          <a:ea typeface="+mn-ea"/>
          <a:cs typeface="+mn-cs"/>
        </a:defRPr>
      </a:lvl6pPr>
      <a:lvl7pPr marL="2801629" indent="-215510" algn="l" defTabSz="862040" rtl="0" eaLnBrk="1" latinLnBrk="0" hangingPunct="1">
        <a:lnSpc>
          <a:spcPct val="90000"/>
        </a:lnSpc>
        <a:spcBef>
          <a:spcPts val="471"/>
        </a:spcBef>
        <a:buFont typeface="Arial" panose="020B0604020202020204" pitchFamily="34" charset="0"/>
        <a:buChar char="•"/>
        <a:defRPr sz="1697" kern="1200">
          <a:solidFill>
            <a:schemeClr val="tx1"/>
          </a:solidFill>
          <a:latin typeface="+mn-lt"/>
          <a:ea typeface="+mn-ea"/>
          <a:cs typeface="+mn-cs"/>
        </a:defRPr>
      </a:lvl7pPr>
      <a:lvl8pPr marL="3232649" indent="-215510" algn="l" defTabSz="862040" rtl="0" eaLnBrk="1" latinLnBrk="0" hangingPunct="1">
        <a:lnSpc>
          <a:spcPct val="90000"/>
        </a:lnSpc>
        <a:spcBef>
          <a:spcPts val="471"/>
        </a:spcBef>
        <a:buFont typeface="Arial" panose="020B0604020202020204" pitchFamily="34" charset="0"/>
        <a:buChar char="•"/>
        <a:defRPr sz="1697" kern="1200">
          <a:solidFill>
            <a:schemeClr val="tx1"/>
          </a:solidFill>
          <a:latin typeface="+mn-lt"/>
          <a:ea typeface="+mn-ea"/>
          <a:cs typeface="+mn-cs"/>
        </a:defRPr>
      </a:lvl8pPr>
      <a:lvl9pPr marL="3663669" indent="-215510" algn="l" defTabSz="862040" rtl="0" eaLnBrk="1" latinLnBrk="0" hangingPunct="1">
        <a:lnSpc>
          <a:spcPct val="90000"/>
        </a:lnSpc>
        <a:spcBef>
          <a:spcPts val="471"/>
        </a:spcBef>
        <a:buFont typeface="Arial" panose="020B0604020202020204" pitchFamily="34" charset="0"/>
        <a:buChar char="•"/>
        <a:defRPr sz="16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62040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1pPr>
      <a:lvl2pPr marL="431020" algn="l" defTabSz="862040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2pPr>
      <a:lvl3pPr marL="862040" algn="l" defTabSz="862040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3pPr>
      <a:lvl4pPr marL="1293060" algn="l" defTabSz="862040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4pPr>
      <a:lvl5pPr marL="1724080" algn="l" defTabSz="862040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5pPr>
      <a:lvl6pPr marL="2155100" algn="l" defTabSz="862040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6pPr>
      <a:lvl7pPr marL="2586120" algn="l" defTabSz="862040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7pPr>
      <a:lvl8pPr marL="3017140" algn="l" defTabSz="862040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8pPr>
      <a:lvl9pPr marL="3448160" algn="l" defTabSz="862040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 bwMode="auto">
          <a:xfrm>
            <a:off x="608145" y="367908"/>
            <a:ext cx="8001630" cy="62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992" tIns="46035" rIns="89992" bIns="46035" numCol="1" anchor="b" anchorCtr="0" compatLnSpc="1">
            <a:prstTxWarp prst="textNoShape">
              <a:avLst/>
            </a:prstTxWarp>
          </a:bodyPr>
          <a:lstStyle/>
          <a:p>
            <a:r>
              <a:rPr lang="en-AU" sz="3200" dirty="0"/>
              <a:t>Patient </a:t>
            </a:r>
            <a:r>
              <a:rPr lang="en-AU" sz="3200" dirty="0" smtClean="0"/>
              <a:t>Journey </a:t>
            </a:r>
            <a:r>
              <a:rPr lang="en-AU" sz="3200" dirty="0"/>
              <a:t>M</a:t>
            </a:r>
            <a:r>
              <a:rPr lang="en-AU" sz="3200" dirty="0" smtClean="0"/>
              <a:t>apping</a:t>
            </a:r>
            <a:endParaRPr lang="en-AU" sz="3200" dirty="0"/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21585"/>
            <a:ext cx="9018891" cy="59364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94199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698" name="Picture 27" descr="cartoon_of_a_poor_sick_person_in_a_hospital_on_a_gurney_0515-1104-2203-3136_SMU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28501" y="2971986"/>
            <a:ext cx="2036106" cy="17369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699" name="Title 1"/>
          <p:cNvSpPr>
            <a:spLocks noGrp="1"/>
          </p:cNvSpPr>
          <p:nvPr>
            <p:ph type="title"/>
          </p:nvPr>
        </p:nvSpPr>
        <p:spPr>
          <a:xfrm>
            <a:off x="354471" y="549111"/>
            <a:ext cx="8230103" cy="594817"/>
          </a:xfrm>
        </p:spPr>
        <p:txBody>
          <a:bodyPr>
            <a:normAutofit fontScale="90000"/>
          </a:bodyPr>
          <a:lstStyle/>
          <a:p>
            <a:r>
              <a:rPr lang="en-AU" kern="1200" dirty="0" smtClean="0">
                <a:latin typeface="+mn-lt"/>
                <a:ea typeface="+mn-ea"/>
                <a:cs typeface="+mn-cs"/>
              </a:rPr>
              <a:t>Voice of the Patient</a:t>
            </a:r>
            <a:br>
              <a:rPr lang="en-AU" kern="1200" dirty="0" smtClean="0">
                <a:latin typeface="+mn-lt"/>
                <a:ea typeface="+mn-ea"/>
                <a:cs typeface="+mn-cs"/>
              </a:rPr>
            </a:br>
            <a:r>
              <a:rPr lang="en-AU" sz="2700" dirty="0" smtClean="0">
                <a:latin typeface="+mn-lt"/>
                <a:ea typeface="+mn-ea"/>
                <a:cs typeface="+mn-cs"/>
              </a:rPr>
              <a:t>Surveys, Interviews and Observation</a:t>
            </a:r>
            <a:endParaRPr lang="en-AU" sz="2700" kern="1200" dirty="0" smtClean="0">
              <a:latin typeface="+mn-lt"/>
              <a:ea typeface="+mn-ea"/>
              <a:cs typeface="+mn-cs"/>
            </a:endParaRPr>
          </a:p>
        </p:txBody>
      </p:sp>
      <p:grpSp>
        <p:nvGrpSpPr>
          <p:cNvPr id="29700" name="Group 29"/>
          <p:cNvGrpSpPr>
            <a:grpSpLocks/>
          </p:cNvGrpSpPr>
          <p:nvPr/>
        </p:nvGrpSpPr>
        <p:grpSpPr bwMode="auto">
          <a:xfrm>
            <a:off x="1600131" y="1473872"/>
            <a:ext cx="7467667" cy="4011694"/>
            <a:chOff x="352128" y="2711836"/>
            <a:chExt cx="10973557" cy="5473140"/>
          </a:xfrm>
        </p:grpSpPr>
        <p:sp>
          <p:nvSpPr>
            <p:cNvPr id="22" name="Can 21"/>
            <p:cNvSpPr/>
            <p:nvPr/>
          </p:nvSpPr>
          <p:spPr>
            <a:xfrm>
              <a:off x="8794117" y="4779421"/>
              <a:ext cx="631017" cy="3405555"/>
            </a:xfrm>
            <a:prstGeom prst="can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anchor="ctr"/>
            <a:lstStyle/>
            <a:p>
              <a:pPr algn="r">
                <a:defRPr/>
              </a:pPr>
              <a:r>
                <a:rPr lang="en-AU" sz="1700" dirty="0"/>
                <a:t>Clinics</a:t>
              </a:r>
            </a:p>
          </p:txBody>
        </p:sp>
        <p:sp>
          <p:nvSpPr>
            <p:cNvPr id="17" name="Can 16"/>
            <p:cNvSpPr/>
            <p:nvPr/>
          </p:nvSpPr>
          <p:spPr>
            <a:xfrm>
              <a:off x="7065925" y="4779421"/>
              <a:ext cx="631017" cy="3405555"/>
            </a:xfrm>
            <a:prstGeom prst="can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anchor="ctr"/>
            <a:lstStyle/>
            <a:p>
              <a:pPr algn="r">
                <a:defRPr/>
              </a:pPr>
              <a:r>
                <a:rPr lang="en-AU" sz="1700" dirty="0"/>
                <a:t>Wards</a:t>
              </a:r>
            </a:p>
          </p:txBody>
        </p:sp>
        <p:sp>
          <p:nvSpPr>
            <p:cNvPr id="19" name="Can 18"/>
            <p:cNvSpPr/>
            <p:nvPr/>
          </p:nvSpPr>
          <p:spPr>
            <a:xfrm>
              <a:off x="5193717" y="4779421"/>
              <a:ext cx="631017" cy="3405555"/>
            </a:xfrm>
            <a:prstGeom prst="can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anchor="ctr"/>
            <a:lstStyle/>
            <a:p>
              <a:pPr algn="r">
                <a:defRPr/>
              </a:pPr>
              <a:r>
                <a:rPr lang="en-AU" sz="1700" dirty="0"/>
                <a:t>Patient Flow</a:t>
              </a:r>
            </a:p>
          </p:txBody>
        </p:sp>
        <p:sp>
          <p:nvSpPr>
            <p:cNvPr id="20" name="Can 19"/>
            <p:cNvSpPr/>
            <p:nvPr/>
          </p:nvSpPr>
          <p:spPr>
            <a:xfrm>
              <a:off x="3393517" y="4779421"/>
              <a:ext cx="631017" cy="3405555"/>
            </a:xfrm>
            <a:prstGeom prst="can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anchor="ctr"/>
            <a:lstStyle/>
            <a:p>
              <a:pPr algn="r">
                <a:defRPr/>
              </a:pPr>
              <a:r>
                <a:rPr lang="en-AU" sz="1700" dirty="0"/>
                <a:t>Pathology</a:t>
              </a:r>
            </a:p>
          </p:txBody>
        </p:sp>
        <p:sp>
          <p:nvSpPr>
            <p:cNvPr id="4" name="Can 3"/>
            <p:cNvSpPr/>
            <p:nvPr/>
          </p:nvSpPr>
          <p:spPr>
            <a:xfrm>
              <a:off x="1593317" y="4758241"/>
              <a:ext cx="631017" cy="3405555"/>
            </a:xfrm>
            <a:prstGeom prst="can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anchor="ctr"/>
            <a:lstStyle/>
            <a:p>
              <a:pPr algn="r">
                <a:defRPr/>
              </a:pPr>
              <a:r>
                <a:rPr lang="en-AU" sz="1700" dirty="0"/>
                <a:t>ED</a:t>
              </a:r>
            </a:p>
          </p:txBody>
        </p:sp>
        <p:sp>
          <p:nvSpPr>
            <p:cNvPr id="9" name="Notched Right Arrow 8"/>
            <p:cNvSpPr/>
            <p:nvPr/>
          </p:nvSpPr>
          <p:spPr>
            <a:xfrm>
              <a:off x="352128" y="6867666"/>
              <a:ext cx="10973557" cy="1271491"/>
            </a:xfrm>
            <a:prstGeom prst="notchedRightArrow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r>
                <a:rPr lang="en-AU" sz="1500" dirty="0"/>
                <a:t>Patient </a:t>
              </a:r>
            </a:p>
            <a:p>
              <a:pPr>
                <a:defRPr/>
              </a:pPr>
              <a:r>
                <a:rPr lang="en-AU" sz="1500" dirty="0"/>
                <a:t>Journey</a:t>
              </a:r>
            </a:p>
          </p:txBody>
        </p:sp>
        <p:sp>
          <p:nvSpPr>
            <p:cNvPr id="10" name="Isosceles Triangle 9"/>
            <p:cNvSpPr/>
            <p:nvPr/>
          </p:nvSpPr>
          <p:spPr>
            <a:xfrm>
              <a:off x="1552210" y="2711836"/>
              <a:ext cx="8623905" cy="1944216"/>
            </a:xfrm>
            <a:prstGeom prst="triangle">
              <a:avLst/>
            </a:prstGeom>
            <a:solidFill>
              <a:schemeClr val="accent1"/>
            </a:solidFill>
            <a:scene3d>
              <a:camera prst="orthographicFront"/>
              <a:lightRig rig="soft" dir="t"/>
            </a:scene3d>
            <a:sp3d prstMaterial="metal">
              <a:bevelT w="114300" h="1143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AU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3" name="Can 12"/>
            <p:cNvSpPr/>
            <p:nvPr/>
          </p:nvSpPr>
          <p:spPr>
            <a:xfrm>
              <a:off x="4257613" y="4779421"/>
              <a:ext cx="631017" cy="3405555"/>
            </a:xfrm>
            <a:prstGeom prst="can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anchor="ctr"/>
            <a:lstStyle/>
            <a:p>
              <a:pPr algn="r">
                <a:defRPr/>
              </a:pPr>
              <a:r>
                <a:rPr lang="en-AU" sz="1700" dirty="0"/>
                <a:t>Consultant Physicians</a:t>
              </a:r>
            </a:p>
          </p:txBody>
        </p:sp>
        <p:sp>
          <p:nvSpPr>
            <p:cNvPr id="16" name="Can 15"/>
            <p:cNvSpPr/>
            <p:nvPr/>
          </p:nvSpPr>
          <p:spPr>
            <a:xfrm>
              <a:off x="2457413" y="4779421"/>
              <a:ext cx="631017" cy="3405555"/>
            </a:xfrm>
            <a:prstGeom prst="can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anchor="ctr"/>
            <a:lstStyle/>
            <a:p>
              <a:pPr algn="r">
                <a:defRPr/>
              </a:pPr>
              <a:r>
                <a:rPr lang="en-AU" sz="1700" dirty="0"/>
                <a:t>Imaging department</a:t>
              </a:r>
            </a:p>
          </p:txBody>
        </p:sp>
        <p:sp>
          <p:nvSpPr>
            <p:cNvPr id="18" name="Can 17"/>
            <p:cNvSpPr/>
            <p:nvPr/>
          </p:nvSpPr>
          <p:spPr>
            <a:xfrm>
              <a:off x="6129821" y="4779421"/>
              <a:ext cx="631017" cy="3405555"/>
            </a:xfrm>
            <a:prstGeom prst="can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anchor="ctr"/>
            <a:lstStyle/>
            <a:p>
              <a:pPr algn="r">
                <a:defRPr/>
              </a:pPr>
              <a:r>
                <a:rPr lang="en-AU" sz="1700" dirty="0"/>
                <a:t>Theatres</a:t>
              </a:r>
            </a:p>
          </p:txBody>
        </p:sp>
        <p:sp>
          <p:nvSpPr>
            <p:cNvPr id="21" name="Can 20"/>
            <p:cNvSpPr/>
            <p:nvPr/>
          </p:nvSpPr>
          <p:spPr>
            <a:xfrm>
              <a:off x="7930021" y="4779421"/>
              <a:ext cx="631017" cy="3405555"/>
            </a:xfrm>
            <a:prstGeom prst="can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anchor="ctr"/>
            <a:lstStyle/>
            <a:p>
              <a:pPr algn="r">
                <a:defRPr/>
              </a:pPr>
              <a:r>
                <a:rPr lang="en-AU" sz="1700" dirty="0"/>
                <a:t>Allied health</a:t>
              </a:r>
            </a:p>
          </p:txBody>
        </p:sp>
        <p:sp>
          <p:nvSpPr>
            <p:cNvPr id="23" name="Can 22"/>
            <p:cNvSpPr/>
            <p:nvPr/>
          </p:nvSpPr>
          <p:spPr>
            <a:xfrm>
              <a:off x="9658213" y="4779421"/>
              <a:ext cx="631017" cy="3405555"/>
            </a:xfrm>
            <a:prstGeom prst="can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anchor="ctr"/>
            <a:lstStyle/>
            <a:p>
              <a:pPr algn="r">
                <a:defRPr/>
              </a:pPr>
              <a:r>
                <a:rPr lang="en-AU" sz="1700" dirty="0"/>
                <a:t>Community Health</a:t>
              </a:r>
            </a:p>
          </p:txBody>
        </p:sp>
      </p:grpSp>
      <p:sp>
        <p:nvSpPr>
          <p:cNvPr id="29" name="Cloud Callout 28"/>
          <p:cNvSpPr/>
          <p:nvPr/>
        </p:nvSpPr>
        <p:spPr>
          <a:xfrm>
            <a:off x="838114" y="1829449"/>
            <a:ext cx="1752640" cy="1079276"/>
          </a:xfrm>
          <a:prstGeom prst="cloudCallout">
            <a:avLst>
              <a:gd name="adj1" fmla="val -53671"/>
              <a:gd name="adj2" fmla="val 51719"/>
            </a:avLst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237" tIns="32619" rIns="65237" bIns="32619" anchor="ctr"/>
          <a:lstStyle/>
          <a:p>
            <a:pPr algn="ctr">
              <a:defRPr/>
            </a:pPr>
            <a:r>
              <a:rPr lang="en-AU" sz="1300" b="1" dirty="0">
                <a:solidFill>
                  <a:schemeClr val="tx1"/>
                </a:solidFill>
              </a:rPr>
              <a:t>Why do I have to keep telling my story?</a:t>
            </a:r>
          </a:p>
        </p:txBody>
      </p:sp>
    </p:spTree>
    <p:extLst>
      <p:ext uri="{BB962C8B-B14F-4D97-AF65-F5344CB8AC3E}">
        <p14:creationId xmlns:p14="http://schemas.microsoft.com/office/powerpoint/2010/main" val="3331723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AU" sz="3700" dirty="0" smtClean="0">
                <a:latin typeface="+mn-lt"/>
                <a:ea typeface="+mn-ea"/>
                <a:cs typeface="+mn-cs"/>
              </a:rPr>
              <a:t>Spaghetti Diagram</a:t>
            </a:r>
            <a:endParaRPr lang="en-GB" sz="3700" dirty="0">
              <a:latin typeface="+mn-lt"/>
              <a:ea typeface="+mn-ea"/>
              <a:cs typeface="+mn-cs"/>
            </a:endParaRPr>
          </a:p>
        </p:txBody>
      </p:sp>
      <p:pic>
        <p:nvPicPr>
          <p:cNvPr id="4" name="Content Placeholder 3" descr="Screen Clipping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644775" y="1805585"/>
            <a:ext cx="4236244" cy="4733132"/>
          </a:xfrm>
        </p:spPr>
      </p:pic>
    </p:spTree>
    <p:extLst>
      <p:ext uri="{BB962C8B-B14F-4D97-AF65-F5344CB8AC3E}">
        <p14:creationId xmlns:p14="http://schemas.microsoft.com/office/powerpoint/2010/main" val="27596580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03C046E7DF81C48BACC3DEC487BA9E1" ma:contentTypeVersion="3" ma:contentTypeDescription="Create a new document." ma:contentTypeScope="" ma:versionID="095507325ca5ee933227f9b8dad07012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074f235200afca78cea09b6a9444dfa4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internalName="PublishingStartDate">
      <xsd:simpleType>
        <xsd:restriction base="dms:Unknown"/>
      </xsd:simpleType>
    </xsd:element>
    <xsd:element name="PublishingExpirationDate" ma:index="9" nillable="true" ma:displayName="Scheduling End Dat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7567C041-5153-4D1C-BC1A-43D6BCA0F749}"/>
</file>

<file path=customXml/itemProps2.xml><?xml version="1.0" encoding="utf-8"?>
<ds:datastoreItem xmlns:ds="http://schemas.openxmlformats.org/officeDocument/2006/customXml" ds:itemID="{71C5AA8F-BAC2-4A7F-B4D9-A8DCA4BF96CF}"/>
</file>

<file path=customXml/itemProps3.xml><?xml version="1.0" encoding="utf-8"?>
<ds:datastoreItem xmlns:ds="http://schemas.openxmlformats.org/officeDocument/2006/customXml" ds:itemID="{BD13C36C-AEA2-406C-8E63-F3AD1BCF9D29}"/>
</file>

<file path=docProps/app.xml><?xml version="1.0" encoding="utf-8"?>
<Properties xmlns="http://schemas.openxmlformats.org/officeDocument/2006/extended-properties" xmlns:vt="http://schemas.openxmlformats.org/officeDocument/2006/docPropsVTypes">
  <TotalTime>612</TotalTime>
  <Words>37</Words>
  <Application>Microsoft Office PowerPoint</Application>
  <PresentationFormat>On-screen Show (4:3)</PresentationFormat>
  <Paragraphs>17</Paragraphs>
  <Slides>3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5" baseType="lpstr">
      <vt:lpstr>1_Office Theme</vt:lpstr>
      <vt:lpstr>think-cell Slide</vt:lpstr>
      <vt:lpstr>PowerPoint Presentation</vt:lpstr>
      <vt:lpstr>Voice of the Patient Surveys, Interviews and Observation</vt:lpstr>
      <vt:lpstr>Spaghetti Diagram</vt:lpstr>
    </vt:vector>
  </TitlesOfParts>
  <Company>Deloitte Touche Tohmatsu Services, Inc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ualitative data examples: Key lines of enquiry</dc:title>
  <dc:creator>Robson, Lucia (AU - Sydney)</dc:creator>
  <cp:lastModifiedBy>BARRETT, Elizabeth</cp:lastModifiedBy>
  <cp:revision>23</cp:revision>
  <dcterms:created xsi:type="dcterms:W3CDTF">2017-12-01T03:10:55Z</dcterms:created>
  <dcterms:modified xsi:type="dcterms:W3CDTF">2018-06-12T00:24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03C046E7DF81C48BACC3DEC487BA9E1</vt:lpwstr>
  </property>
</Properties>
</file>